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94" r:id="rId2"/>
    <p:sldId id="295" r:id="rId3"/>
    <p:sldId id="296" r:id="rId4"/>
    <p:sldId id="298" r:id="rId5"/>
    <p:sldId id="299" r:id="rId6"/>
    <p:sldId id="300" r:id="rId7"/>
    <p:sldId id="297" r:id="rId8"/>
    <p:sldId id="301" r:id="rId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7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>
      <p:cViewPr>
        <p:scale>
          <a:sx n="66" d="100"/>
          <a:sy n="66" d="100"/>
        </p:scale>
        <p:origin x="2310" y="11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79D33739-1AC4-4FF3-8296-9E0A27F928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24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5" progId="TCLayout.ActiveDocument.1">
                  <p:embed/>
                </p:oleObj>
              </mc:Choice>
              <mc:Fallback>
                <p:oleObj name="Diapositive think-cell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8820772-A443-4B0A-A15F-90E05CA316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8E220D63-8059-4094-9A71-CD80DF74AC7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331" r="20331" b="29725"/>
          <a:stretch/>
        </p:blipFill>
        <p:spPr>
          <a:xfrm>
            <a:off x="354281" y="-2"/>
            <a:ext cx="1170043" cy="231165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DF2D67E-49AF-FF43-A317-B800430E5D68}"/>
              </a:ext>
            </a:extLst>
          </p:cNvPr>
          <p:cNvSpPr/>
          <p:nvPr/>
        </p:nvSpPr>
        <p:spPr>
          <a:xfrm>
            <a:off x="11509694" y="-2"/>
            <a:ext cx="682305" cy="685800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BE493CD-BBD6-DD46-A67C-BCC9664989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8316" y="3889041"/>
            <a:ext cx="4976623" cy="978729"/>
          </a:xfrm>
        </p:spPr>
        <p:txBody>
          <a:bodyPr wrap="square" anchor="b">
            <a:spAutoFit/>
          </a:bodyPr>
          <a:lstStyle>
            <a:lvl1pPr algn="l">
              <a:defRPr sz="32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MODIFIEZ LE STYLE DU</a:t>
            </a:r>
            <a:br>
              <a:rPr lang="fr-FR" dirty="0"/>
            </a:br>
            <a:r>
              <a:rPr lang="fr-FR" dirty="0"/>
              <a:t>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6AA5E01-7617-2C4B-84EF-01383A39C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316" y="4959846"/>
            <a:ext cx="4976623" cy="369332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800" spc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3" name="Image 12" descr="Une image contenant personne, intérieur, cuisinant&#10;&#10;Description générée automatiquement">
            <a:extLst>
              <a:ext uri="{FF2B5EF4-FFF2-40B4-BE49-F238E27FC236}">
                <a16:creationId xmlns:a16="http://schemas.microsoft.com/office/drawing/2014/main" id="{35E190E9-FCA9-450B-B153-D40A5B3D8F9A}"/>
              </a:ext>
            </a:extLst>
          </p:cNvPr>
          <p:cNvPicPr>
            <a:picLocks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"/>
          <a:stretch/>
        </p:blipFill>
        <p:spPr>
          <a:xfrm>
            <a:off x="6165236" y="3426279"/>
            <a:ext cx="2312316" cy="3431721"/>
          </a:xfrm>
          <a:prstGeom prst="rect">
            <a:avLst/>
          </a:prstGeom>
        </p:spPr>
      </p:pic>
      <p:pic>
        <p:nvPicPr>
          <p:cNvPr id="14" name="Image 13" descr="Une image contenant personne, intérieur, mur, table de salle à manger&#10;&#10;Description générée automatiquement">
            <a:extLst>
              <a:ext uri="{FF2B5EF4-FFF2-40B4-BE49-F238E27FC236}">
                <a16:creationId xmlns:a16="http://schemas.microsoft.com/office/drawing/2014/main" id="{F4BE6177-13F6-47A0-8EC4-C252BEF280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531290" y="-2"/>
            <a:ext cx="2926237" cy="3381697"/>
          </a:xfrm>
          <a:prstGeom prst="rect">
            <a:avLst/>
          </a:prstGeom>
        </p:spPr>
      </p:pic>
      <p:pic>
        <p:nvPicPr>
          <p:cNvPr id="17" name="Image 16" descr="Une image contenant intérieur, assiette, encombré, repas&#10;&#10;Description générée automatiquement">
            <a:extLst>
              <a:ext uri="{FF2B5EF4-FFF2-40B4-BE49-F238E27FC236}">
                <a16:creationId xmlns:a16="http://schemas.microsoft.com/office/drawing/2014/main" id="{A053672A-B780-45F9-B1C2-37DB24F8FB50}"/>
              </a:ext>
            </a:extLst>
          </p:cNvPr>
          <p:cNvPicPr>
            <a:picLocks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2923" y="3426279"/>
            <a:ext cx="2926236" cy="3438072"/>
          </a:xfrm>
          <a:prstGeom prst="rect">
            <a:avLst/>
          </a:prstGeom>
        </p:spPr>
      </p:pic>
      <p:pic>
        <p:nvPicPr>
          <p:cNvPr id="19" name="Image 18" descr="Une image contenant intérieur, ustensiles de cuisine, appareil de cuisine&#10;&#10;Description générée automatiquement">
            <a:extLst>
              <a:ext uri="{FF2B5EF4-FFF2-40B4-BE49-F238E27FC236}">
                <a16:creationId xmlns:a16="http://schemas.microsoft.com/office/drawing/2014/main" id="{E42D9038-3D63-4C4C-93EA-9369D510A9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0073" y="-1"/>
            <a:ext cx="2312316" cy="3381697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AEDD7A4F-7729-4D52-98AC-B64EA286B82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42706" y="42338"/>
            <a:ext cx="411138" cy="6773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70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appareil de cuisine, cuisinant&#10;&#10;Description générée automatiquement">
            <a:extLst>
              <a:ext uri="{FF2B5EF4-FFF2-40B4-BE49-F238E27FC236}">
                <a16:creationId xmlns:a16="http://schemas.microsoft.com/office/drawing/2014/main" id="{95640CF9-768B-E54D-8117-8BA68EBE2E6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36" y="138112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5C2B55-EEB6-4D4D-A226-8A2C364F7FA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5CC5ABBA-4F61-4481-AA78-04F56489ED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182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personne, plancher, appareil&#10;&#10;Description générée automatiquement">
            <a:extLst>
              <a:ext uri="{FF2B5EF4-FFF2-40B4-BE49-F238E27FC236}">
                <a16:creationId xmlns:a16="http://schemas.microsoft.com/office/drawing/2014/main" id="{90DA559B-6DF0-5D4E-92FB-C85F357555D7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56C106-C2BB-4BDA-BD36-43161EC1B0DF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262D5B8E-84B3-4ADF-B9B1-2078B8E436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00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plancher, meubles&#10;&#10;Description générée automatiquement">
            <a:extLst>
              <a:ext uri="{FF2B5EF4-FFF2-40B4-BE49-F238E27FC236}">
                <a16:creationId xmlns:a16="http://schemas.microsoft.com/office/drawing/2014/main" id="{90B604CB-B7C3-FC49-9EBC-2853666E774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779438-64CF-4DEE-96BD-1475669A973C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874468AA-34FC-47EA-8A04-D403E12292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4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mur, intérieur, appareil de cuisine&#10;&#10;Description générée automatiquement">
            <a:extLst>
              <a:ext uri="{FF2B5EF4-FFF2-40B4-BE49-F238E27FC236}">
                <a16:creationId xmlns:a16="http://schemas.microsoft.com/office/drawing/2014/main" id="{96290170-DA2D-154A-8BEE-B5308FCDC4C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5669FE-E94D-47BE-BD7C-ACC7AF22859E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AE0F64F2-B808-4714-8364-BDA44FBBCEB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750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able, intérieur, mur, en bois&#10;&#10;Description générée automatiquement">
            <a:extLst>
              <a:ext uri="{FF2B5EF4-FFF2-40B4-BE49-F238E27FC236}">
                <a16:creationId xmlns:a16="http://schemas.microsoft.com/office/drawing/2014/main" id="{1154300E-4186-164A-ACC3-7FCAD0990F9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051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plancher, café, intérieur, plante&#10;&#10;Description générée automatiquement">
            <a:extLst>
              <a:ext uri="{FF2B5EF4-FFF2-40B4-BE49-F238E27FC236}">
                <a16:creationId xmlns:a16="http://schemas.microsoft.com/office/drawing/2014/main" id="{C4DEDA8B-4B31-A445-AF7A-03FA0EC342BC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835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intérieur, plusieurs&#10;&#10;Description générée automatiquement">
            <a:extLst>
              <a:ext uri="{FF2B5EF4-FFF2-40B4-BE49-F238E27FC236}">
                <a16:creationId xmlns:a16="http://schemas.microsoft.com/office/drawing/2014/main" id="{3E22C896-033E-8B4F-B621-34E1E21E8EA3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468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table, en bois, plusieurs, légume&#10;&#10;Description générée automatiquement">
            <a:extLst>
              <a:ext uri="{FF2B5EF4-FFF2-40B4-BE49-F238E27FC236}">
                <a16:creationId xmlns:a16="http://schemas.microsoft.com/office/drawing/2014/main" id="{2055E8A0-6BAE-7E48-8A0D-828F7E7BF07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112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3007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personne, appareil de cuisine&#10;&#10;Description générée automatiquement">
            <a:extLst>
              <a:ext uri="{FF2B5EF4-FFF2-40B4-BE49-F238E27FC236}">
                <a16:creationId xmlns:a16="http://schemas.microsoft.com/office/drawing/2014/main" id="{3EB420A3-EB78-C947-95EB-0549DC0D4549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256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890C69A2-43E6-B046-B698-9E40320C6F45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112"/>
            <a:ext cx="7972149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101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Une image contenant plancher, intérieur, plafond, sport&#10;&#10;Description générée automatiquement">
            <a:extLst>
              <a:ext uri="{FF2B5EF4-FFF2-40B4-BE49-F238E27FC236}">
                <a16:creationId xmlns:a16="http://schemas.microsoft.com/office/drawing/2014/main" id="{AB7BC7D8-24E5-E140-A139-0D6C6E45C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7935" y="0"/>
            <a:ext cx="5748464" cy="6858000"/>
          </a:xfrm>
          <a:prstGeom prst="rect">
            <a:avLst/>
          </a:prstGeom>
        </p:spPr>
      </p:pic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105E420E-E139-41C3-9A82-4F53CDA29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322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5" progId="TCLayout.ActiveDocument.1">
                  <p:embed/>
                </p:oleObj>
              </mc:Choice>
              <mc:Fallback>
                <p:oleObj name="Diapositive think-cell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que 8">
            <a:extLst>
              <a:ext uri="{FF2B5EF4-FFF2-40B4-BE49-F238E27FC236}">
                <a16:creationId xmlns:a16="http://schemas.microsoft.com/office/drawing/2014/main" id="{50F7799A-E769-4431-9130-AD4693BC5C4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6C695B7-4C9C-9C43-9BDD-B99D6048B403}"/>
              </a:ext>
            </a:extLst>
          </p:cNvPr>
          <p:cNvSpPr/>
          <p:nvPr/>
        </p:nvSpPr>
        <p:spPr>
          <a:xfrm>
            <a:off x="1647387" y="682885"/>
            <a:ext cx="7305774" cy="5336684"/>
          </a:xfrm>
          <a:prstGeom prst="rect">
            <a:avLst/>
          </a:prstGeom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CA8A984-7E0E-7540-89A0-9CCA6754159B}"/>
              </a:ext>
            </a:extLst>
          </p:cNvPr>
          <p:cNvSpPr txBox="1"/>
          <p:nvPr/>
        </p:nvSpPr>
        <p:spPr>
          <a:xfrm rot="16200000">
            <a:off x="6208399" y="3259659"/>
            <a:ext cx="4570482" cy="92333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fr-FR" sz="5400" spc="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MAIRE</a:t>
            </a:r>
            <a:endParaRPr lang="fr-FR" sz="2400" spc="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8A7FFB3-3DD8-D84E-876A-D853366375B6}"/>
              </a:ext>
            </a:extLst>
          </p:cNvPr>
          <p:cNvSpPr/>
          <p:nvPr/>
        </p:nvSpPr>
        <p:spPr>
          <a:xfrm>
            <a:off x="0" y="6721642"/>
            <a:ext cx="12192000" cy="136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FB59E8-298F-0040-BF1F-D69D33448B96}"/>
              </a:ext>
            </a:extLst>
          </p:cNvPr>
          <p:cNvSpPr/>
          <p:nvPr/>
        </p:nvSpPr>
        <p:spPr>
          <a:xfrm>
            <a:off x="1503682" y="556180"/>
            <a:ext cx="7593184" cy="559009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DE471A9-560A-E142-8EA8-954F908259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39811" y="1124745"/>
            <a:ext cx="5686869" cy="4452966"/>
          </a:xfrm>
        </p:spPr>
        <p:txBody>
          <a:bodyPr anchor="ctr" anchorCtr="0">
            <a:normAutofit/>
          </a:bodyPr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 sz="2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736270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plancher, meubles, canapé&#10;&#10;Description générée automatiquement">
            <a:extLst>
              <a:ext uri="{FF2B5EF4-FFF2-40B4-BE49-F238E27FC236}">
                <a16:creationId xmlns:a16="http://schemas.microsoft.com/office/drawing/2014/main" id="{8DF3E732-97FE-F444-9C75-C9CBC1F89E2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526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2943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plancher, intérieur, mur, fenêtre&#10;&#10;Description générée automatiquement">
            <a:extLst>
              <a:ext uri="{FF2B5EF4-FFF2-40B4-BE49-F238E27FC236}">
                <a16:creationId xmlns:a16="http://schemas.microsoft.com/office/drawing/2014/main" id="{418CDBF5-9BDF-A448-BF87-F41ED66A336D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95"/>
          <a:stretch/>
        </p:blipFill>
        <p:spPr>
          <a:xfrm>
            <a:off x="0" y="136526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CBBF516-9192-491E-8C59-C6CC6F970D92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703DC5F7-4A4D-4612-8E96-BA9E7C653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7072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-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3F9C73C6-2C7E-47E1-8A60-CE3CA458F2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739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5" progId="TCLayout.ActiveDocument.1">
                  <p:embed/>
                </p:oleObj>
              </mc:Choice>
              <mc:Fallback>
                <p:oleObj name="Diapositive think-cell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6F8A44-AB3B-49D5-AA3C-03F9380CF8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5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02EBCEC9-CF5B-4BA3-AE06-60268DBC89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331" r="20331" b="29725"/>
          <a:stretch/>
        </p:blipFill>
        <p:spPr>
          <a:xfrm>
            <a:off x="316725" y="0"/>
            <a:ext cx="521475" cy="103027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6A0C74D4-8E2E-034E-BECB-8BEA26504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8234" y="6404271"/>
            <a:ext cx="827600" cy="365125"/>
          </a:xfrm>
        </p:spPr>
        <p:txBody>
          <a:bodyPr/>
          <a:lstStyle/>
          <a:p>
            <a:fld id="{080BD2B0-ACCD-EB4F-8684-3199CF99DE09}" type="datetime1">
              <a:rPr lang="fr-FR" smtClean="0"/>
              <a:t>07/09/2021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6F2BA2B-80BB-224D-882A-67C9ACA41C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7713" y="1443038"/>
            <a:ext cx="10696575" cy="4745037"/>
          </a:xfrm>
        </p:spPr>
        <p:txBody>
          <a:bodyPr/>
          <a:lstStyle>
            <a:lvl1pPr>
              <a:defRPr/>
            </a:lvl1pPr>
            <a:lvl4pPr marL="790575" indent="-166688">
              <a:defRPr/>
            </a:lvl4pPr>
          </a:lstStyle>
          <a:p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50162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-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0C74D4-8E2E-034E-BECB-8BEA26504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8233" y="6404271"/>
            <a:ext cx="811835" cy="365125"/>
          </a:xfrm>
        </p:spPr>
        <p:txBody>
          <a:bodyPr/>
          <a:lstStyle/>
          <a:p>
            <a:fld id="{8D90A95D-AD0A-B04F-951B-12BB23696C45}" type="datetime1">
              <a:rPr lang="fr-FR" smtClean="0"/>
              <a:t>07/09/2021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361882BA-E6E2-9243-A3F3-F2F940408D4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38200" y="1496265"/>
            <a:ext cx="4881465" cy="400110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6435498A-AF3D-4B9F-9921-24E8C252E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027238"/>
            <a:ext cx="10598150" cy="4125912"/>
          </a:xfrm>
        </p:spPr>
        <p:txBody>
          <a:bodyPr/>
          <a:lstStyle>
            <a:lvl4pPr marL="790575" indent="-166688">
              <a:defRPr/>
            </a:lvl4pPr>
          </a:lstStyle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8E79620C-88C8-4E5F-AA49-83585FB307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146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-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>
            <a:extLst>
              <a:ext uri="{FF2B5EF4-FFF2-40B4-BE49-F238E27FC236}">
                <a16:creationId xmlns:a16="http://schemas.microsoft.com/office/drawing/2014/main" id="{B8623C3A-D767-4A44-B766-2682F59DE1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4568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44" imgH="345" progId="TCLayout.ActiveDocument.1">
                  <p:embed/>
                </p:oleObj>
              </mc:Choice>
              <mc:Fallback>
                <p:oleObj name="Diapositive think-cell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F09C1419-3B48-4364-8DC3-9C6328EB50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5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09FE416B-0F4B-4E1B-A8D9-00B3CD13F3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412168"/>
            <a:ext cx="4881465" cy="3531432"/>
          </a:xfrm>
        </p:spPr>
        <p:txBody>
          <a:bodyPr/>
          <a:lstStyle>
            <a:lvl1pPr>
              <a:defRPr/>
            </a:lvl1pPr>
            <a:lvl4pPr marL="790575" indent="-166688">
              <a:defRPr/>
            </a:lvl4pPr>
          </a:lstStyle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A0C74D4-8E2E-034E-BECB-8BEA26504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AA7B9-2D35-3A4C-AA4C-AA10DD7DA07F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361882BA-E6E2-9243-A3F3-F2F940408D4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38200" y="1727057"/>
            <a:ext cx="4881465" cy="400110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5ADF5BA6-76E3-BB47-8FFE-4AE278ABC91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00616" y="1727057"/>
            <a:ext cx="4881465" cy="400110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B57392DB-BB3E-46F1-9531-F8FD805836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0616" y="2412168"/>
            <a:ext cx="4881465" cy="3531432"/>
          </a:xfrm>
        </p:spPr>
        <p:txBody>
          <a:bodyPr/>
          <a:lstStyle>
            <a:lvl1pPr>
              <a:defRPr/>
            </a:lvl1pPr>
            <a:lvl4pPr marL="790575" indent="-166688">
              <a:defRPr/>
            </a:lvl4pPr>
          </a:lstStyle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9D6CF7C-D1D3-4DFE-874D-B6E8F72F945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7303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-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F02C7-7AF5-A941-AAF3-66C44EA09A9A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8FAE42FE-EEC7-1848-BDEE-E887C07B2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341024"/>
            <a:ext cx="10357104" cy="78483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908365-5C08-CF4F-98C7-FA771A15035A}"/>
              </a:ext>
            </a:extLst>
          </p:cNvPr>
          <p:cNvSpPr/>
          <p:nvPr/>
        </p:nvSpPr>
        <p:spPr>
          <a:xfrm>
            <a:off x="1389259" y="1926175"/>
            <a:ext cx="2711058" cy="383316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DA39DB-05AD-9845-B717-2FECA66650C1}"/>
              </a:ext>
            </a:extLst>
          </p:cNvPr>
          <p:cNvSpPr/>
          <p:nvPr/>
        </p:nvSpPr>
        <p:spPr>
          <a:xfrm>
            <a:off x="4740471" y="1926175"/>
            <a:ext cx="2711058" cy="383316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03DF764-A257-5341-86FC-BAF59E443AAE}"/>
              </a:ext>
            </a:extLst>
          </p:cNvPr>
          <p:cNvSpPr/>
          <p:nvPr/>
        </p:nvSpPr>
        <p:spPr>
          <a:xfrm>
            <a:off x="8091683" y="1926175"/>
            <a:ext cx="2711058" cy="383316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7CF999-30C3-7146-A2B6-2F598475DBEB}"/>
              </a:ext>
            </a:extLst>
          </p:cNvPr>
          <p:cNvSpPr/>
          <p:nvPr/>
        </p:nvSpPr>
        <p:spPr>
          <a:xfrm>
            <a:off x="1274763" y="1811363"/>
            <a:ext cx="2940050" cy="406279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B38557-9DDC-2640-AF57-E1997AE44C04}"/>
              </a:ext>
            </a:extLst>
          </p:cNvPr>
          <p:cNvSpPr/>
          <p:nvPr/>
        </p:nvSpPr>
        <p:spPr>
          <a:xfrm>
            <a:off x="4625975" y="1811363"/>
            <a:ext cx="2940050" cy="406279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A05A2E-9F85-8A46-8EFC-F4B88E926909}"/>
              </a:ext>
            </a:extLst>
          </p:cNvPr>
          <p:cNvSpPr/>
          <p:nvPr/>
        </p:nvSpPr>
        <p:spPr>
          <a:xfrm>
            <a:off x="7977187" y="1811363"/>
            <a:ext cx="2940050" cy="406279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77F5442B-B1EC-8C4D-B711-F4E1D1E29A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90027" y="2320614"/>
            <a:ext cx="2597341" cy="707886"/>
          </a:xfrm>
        </p:spPr>
        <p:txBody>
          <a:bodyPr wrap="square"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CFE1DFFE-5792-A54F-B45F-2FE22D0FE6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90027" y="3621674"/>
            <a:ext cx="2597341" cy="523220"/>
          </a:xfrm>
        </p:spPr>
        <p:txBody>
          <a:bodyPr wrap="square" anchor="t" anchorCtr="0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6AD2790B-70C5-F149-AAEC-AD7A23FF695B}"/>
              </a:ext>
            </a:extLst>
          </p:cNvPr>
          <p:cNvCxnSpPr/>
          <p:nvPr/>
        </p:nvCxnSpPr>
        <p:spPr>
          <a:xfrm>
            <a:off x="1635919" y="3282124"/>
            <a:ext cx="4214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D781C0F7-68A2-CC41-A9B1-D34E91719E0E}"/>
              </a:ext>
            </a:extLst>
          </p:cNvPr>
          <p:cNvCxnSpPr/>
          <p:nvPr/>
        </p:nvCxnSpPr>
        <p:spPr>
          <a:xfrm>
            <a:off x="4993481" y="3282124"/>
            <a:ext cx="4214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D4D0C865-D9E4-F44B-98A9-5795F50D5EE4}"/>
              </a:ext>
            </a:extLst>
          </p:cNvPr>
          <p:cNvCxnSpPr/>
          <p:nvPr/>
        </p:nvCxnSpPr>
        <p:spPr>
          <a:xfrm>
            <a:off x="8329613" y="3282124"/>
            <a:ext cx="42148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texte 7">
            <a:extLst>
              <a:ext uri="{FF2B5EF4-FFF2-40B4-BE49-F238E27FC236}">
                <a16:creationId xmlns:a16="http://schemas.microsoft.com/office/drawing/2014/main" id="{ECF369EB-53A5-ED4B-A421-0426A78364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44432" y="2320614"/>
            <a:ext cx="2597341" cy="707886"/>
          </a:xfrm>
        </p:spPr>
        <p:txBody>
          <a:bodyPr wrap="square"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53DE07B4-3B98-9145-AC5C-0A35108BD8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44432" y="3621674"/>
            <a:ext cx="2597341" cy="523220"/>
          </a:xfrm>
        </p:spPr>
        <p:txBody>
          <a:bodyPr wrap="square" anchor="t" anchorCtr="0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29" name="Espace réservé du texte 7">
            <a:extLst>
              <a:ext uri="{FF2B5EF4-FFF2-40B4-BE49-F238E27FC236}">
                <a16:creationId xmlns:a16="http://schemas.microsoft.com/office/drawing/2014/main" id="{03F84106-B7BE-6E43-9166-6ABAA4D9C7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01376" y="2320614"/>
            <a:ext cx="2597341" cy="707886"/>
          </a:xfrm>
        </p:spPr>
        <p:txBody>
          <a:bodyPr wrap="square"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sp>
        <p:nvSpPr>
          <p:cNvPr id="30" name="Espace réservé du texte 7">
            <a:extLst>
              <a:ext uri="{FF2B5EF4-FFF2-40B4-BE49-F238E27FC236}">
                <a16:creationId xmlns:a16="http://schemas.microsoft.com/office/drawing/2014/main" id="{45200380-DE77-0C44-954B-EA82CA93BD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1376" y="3621674"/>
            <a:ext cx="2597341" cy="523220"/>
          </a:xfrm>
        </p:spPr>
        <p:txBody>
          <a:bodyPr wrap="square" anchor="t" anchorCtr="0">
            <a:spAutoFit/>
          </a:bodyPr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C01A8209-FA49-4DEE-BBFC-E66E564C13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1089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- Titre 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ED407E8-63CC-B748-AC54-81931F558AFB}"/>
              </a:ext>
            </a:extLst>
          </p:cNvPr>
          <p:cNvSpPr/>
          <p:nvPr/>
        </p:nvSpPr>
        <p:spPr>
          <a:xfrm>
            <a:off x="4985469" y="831678"/>
            <a:ext cx="6345140" cy="45115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467F705-26E4-544F-A71A-1A3700477326}"/>
              </a:ext>
            </a:extLst>
          </p:cNvPr>
          <p:cNvSpPr/>
          <p:nvPr/>
        </p:nvSpPr>
        <p:spPr>
          <a:xfrm>
            <a:off x="4830542" y="685800"/>
            <a:ext cx="6654994" cy="4803354"/>
          </a:xfrm>
          <a:prstGeom prst="rect">
            <a:avLst/>
          </a:prstGeom>
          <a:noFill/>
          <a:ln w="127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7846EA24-7EE5-2B49-B95D-83A85FCBBF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97163" y="2898775"/>
            <a:ext cx="4270375" cy="3044825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E3640-09BF-FF48-9F28-27484F04BA4D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33" name="Espace réservé du texte 7">
            <a:extLst>
              <a:ext uri="{FF2B5EF4-FFF2-40B4-BE49-F238E27FC236}">
                <a16:creationId xmlns:a16="http://schemas.microsoft.com/office/drawing/2014/main" id="{506335AD-16FB-4349-AEF8-1AC9B64F9C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89752" y="1394617"/>
            <a:ext cx="4939648" cy="646331"/>
          </a:xfrm>
        </p:spPr>
        <p:txBody>
          <a:bodyPr wrap="square" anchor="ctr" anchorCtr="0">
            <a:spAutoFit/>
          </a:bodyPr>
          <a:lstStyle>
            <a:lvl1pPr>
              <a:defRPr sz="3600" cap="all" baseline="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Ajoutez du texte</a:t>
            </a:r>
          </a:p>
        </p:txBody>
      </p:sp>
      <p:sp>
        <p:nvSpPr>
          <p:cNvPr id="35" name="Espace réservé du texte 7">
            <a:extLst>
              <a:ext uri="{FF2B5EF4-FFF2-40B4-BE49-F238E27FC236}">
                <a16:creationId xmlns:a16="http://schemas.microsoft.com/office/drawing/2014/main" id="{2B984563-EEC0-A941-97DD-A0CC2FB10E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8080" y="1399682"/>
            <a:ext cx="3575304" cy="646331"/>
          </a:xfrm>
        </p:spPr>
        <p:txBody>
          <a:bodyPr wrap="square" anchor="t" anchorCtr="0">
            <a:spAutoFit/>
          </a:bodyPr>
          <a:lstStyle>
            <a:lvl1pPr algn="r">
              <a:defRPr sz="18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Modifiez les styles du texte du masqu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1B160934-81D3-40AC-9C70-0546C913AB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921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- Titre 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F1E31066-7D46-2B4D-96D5-54BE7BC4981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56740"/>
            <a:ext cx="6437313" cy="3840163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5130C-C5E2-184D-B6D0-87D0DF08D768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6AE43C3D-EBF2-2842-B1E2-AE22EEE111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31736" y="1856232"/>
            <a:ext cx="4306825" cy="3840671"/>
          </a:xfrm>
        </p:spPr>
        <p:txBody>
          <a:bodyPr anchor="ctr" anchorCtr="0"/>
          <a:lstStyle>
            <a:lvl1pPr>
              <a:defRPr sz="2000"/>
            </a:lvl1pPr>
            <a:lvl4pPr marL="790575" indent="-166688">
              <a:defRPr/>
            </a:lvl4pPr>
          </a:lstStyle>
          <a:p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8FAE42FE-EEC7-1848-BDEE-E887C07B2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341024"/>
            <a:ext cx="10357104" cy="78483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45B9144E-089D-4615-80E1-D41DDF9484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7950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Contenu et Grap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93BBE-AF2E-7F45-862E-C2EE67F9C9F9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6AE43C3D-EBF2-2842-B1E2-AE22EEE111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408" y="1828864"/>
            <a:ext cx="4434840" cy="3840671"/>
          </a:xfrm>
        </p:spPr>
        <p:txBody>
          <a:bodyPr anchor="ctr" anchorCtr="0"/>
          <a:lstStyle>
            <a:lvl1pPr>
              <a:defRPr sz="2000"/>
            </a:lvl1pPr>
            <a:lvl4pPr marL="790575" indent="-166688">
              <a:defRPr/>
            </a:lvl4pPr>
          </a:lstStyle>
          <a:p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8FAE42FE-EEC7-1848-BDEE-E887C07B2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341024"/>
            <a:ext cx="10357104" cy="78483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23E5124C-C5B3-E04F-9018-3D615A64D74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907596" y="1499934"/>
            <a:ext cx="5440362" cy="4498530"/>
          </a:xfrm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D1D97EA8-2EB2-4571-A242-F847FEAC8E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319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E6568B1-932E-6046-AE3A-2AC22E3CF27C}"/>
              </a:ext>
            </a:extLst>
          </p:cNvPr>
          <p:cNvSpPr/>
          <p:nvPr/>
        </p:nvSpPr>
        <p:spPr>
          <a:xfrm>
            <a:off x="7210268" y="-1"/>
            <a:ext cx="4981731" cy="67213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F54D30-2F70-3C4A-A5FD-89C69B81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17A52-6514-B84D-AF8C-784260EE929C}" type="datetime1">
              <a:rPr lang="fr-FR" smtClean="0"/>
              <a:t>07/09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8C5DA7-4E62-774E-8C01-1E1411BCD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D02AC20-0716-574F-870A-3E207AE2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C9E837-E952-9A4B-9DC7-BE7B2EFE6696}"/>
              </a:ext>
            </a:extLst>
          </p:cNvPr>
          <p:cNvSpPr/>
          <p:nvPr/>
        </p:nvSpPr>
        <p:spPr>
          <a:xfrm>
            <a:off x="1407665" y="1282449"/>
            <a:ext cx="7103289" cy="44644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9B1468-32AE-834C-A0A6-E931706A6D50}"/>
              </a:ext>
            </a:extLst>
          </p:cNvPr>
          <p:cNvSpPr/>
          <p:nvPr/>
        </p:nvSpPr>
        <p:spPr>
          <a:xfrm>
            <a:off x="1202922" y="1113020"/>
            <a:ext cx="7761195" cy="480335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8223C39-B048-E644-A577-D386A99E53E5}"/>
              </a:ext>
            </a:extLst>
          </p:cNvPr>
          <p:cNvSpPr txBox="1"/>
          <p:nvPr/>
        </p:nvSpPr>
        <p:spPr>
          <a:xfrm rot="16200000">
            <a:off x="9353524" y="3899725"/>
            <a:ext cx="4557530" cy="92333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fr-FR" sz="5400" spc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S</a:t>
            </a:r>
            <a:endParaRPr lang="fr-FR" sz="2400" spc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153A3D4D-82CF-AE48-8C08-2A81C15C02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12209" y="4688488"/>
            <a:ext cx="2016224" cy="2016224"/>
          </a:xfrm>
          <a:prstGeom prst="rect">
            <a:avLst/>
          </a:prstGeom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84C3FB8B-53ED-3C45-9EC0-C2B88B1E2900}"/>
              </a:ext>
            </a:extLst>
          </p:cNvPr>
          <p:cNvCxnSpPr/>
          <p:nvPr/>
        </p:nvCxnSpPr>
        <p:spPr>
          <a:xfrm>
            <a:off x="5297972" y="3444706"/>
            <a:ext cx="4214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7">
            <a:extLst>
              <a:ext uri="{FF2B5EF4-FFF2-40B4-BE49-F238E27FC236}">
                <a16:creationId xmlns:a16="http://schemas.microsoft.com/office/drawing/2014/main" id="{63AC0525-8DFD-5B41-BD07-514F74B923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2936" y="2350658"/>
            <a:ext cx="2100255" cy="461665"/>
          </a:xfrm>
        </p:spPr>
        <p:txBody>
          <a:bodyPr wrap="none" anchor="t" anchorCtr="0">
            <a:sp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Nom Prénom</a:t>
            </a:r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12E9B9C2-9F67-9143-B4EC-1C60390F33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02936" y="2745480"/>
            <a:ext cx="1168910" cy="400110"/>
          </a:xfrm>
        </p:spPr>
        <p:txBody>
          <a:bodyPr wrap="none" anchor="t" anchorCtr="0">
            <a:spAutoFit/>
          </a:bodyPr>
          <a:lstStyle>
            <a:lvl1pPr algn="l">
              <a:defRPr sz="2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Fonction</a:t>
            </a:r>
          </a:p>
        </p:txBody>
      </p:sp>
      <p:sp>
        <p:nvSpPr>
          <p:cNvPr id="27" name="Espace réservé du texte 7">
            <a:extLst>
              <a:ext uri="{FF2B5EF4-FFF2-40B4-BE49-F238E27FC236}">
                <a16:creationId xmlns:a16="http://schemas.microsoft.com/office/drawing/2014/main" id="{F15AF96D-386F-2B43-888D-3A155EF3A9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02936" y="3773040"/>
            <a:ext cx="2210926" cy="369332"/>
          </a:xfrm>
        </p:spPr>
        <p:txBody>
          <a:bodyPr wrap="none" anchor="t" anchorCtr="0">
            <a:spAutoFit/>
          </a:bodyPr>
          <a:lstStyle>
            <a:lvl1pPr algn="l">
              <a:defRPr sz="18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Tel : 00 00 00 00 00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43339FD2-30E2-3942-8102-592B29490D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02936" y="4194800"/>
            <a:ext cx="1261884" cy="369332"/>
          </a:xfrm>
        </p:spPr>
        <p:txBody>
          <a:bodyPr wrap="none" anchor="t" anchorCtr="0">
            <a:spAutoFit/>
          </a:bodyPr>
          <a:lstStyle>
            <a:lvl1pPr algn="l">
              <a:defRPr sz="18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Mail : </a:t>
            </a:r>
            <a:r>
              <a:rPr lang="fr-FR" dirty="0" err="1"/>
              <a:t>xxxx</a:t>
            </a:r>
            <a:endParaRPr lang="fr-FR" dirty="0"/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B663F196-5247-C548-86A2-A329BEABE23C}"/>
              </a:ext>
            </a:extLst>
          </p:cNvPr>
          <p:cNvCxnSpPr/>
          <p:nvPr/>
        </p:nvCxnSpPr>
        <p:spPr>
          <a:xfrm>
            <a:off x="1942564" y="3444706"/>
            <a:ext cx="42148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Espace réservé du texte 7">
            <a:extLst>
              <a:ext uri="{FF2B5EF4-FFF2-40B4-BE49-F238E27FC236}">
                <a16:creationId xmlns:a16="http://schemas.microsoft.com/office/drawing/2014/main" id="{4E3871F1-B104-2040-BC41-2BB16FEB55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7528" y="2350658"/>
            <a:ext cx="2100255" cy="461665"/>
          </a:xfrm>
        </p:spPr>
        <p:txBody>
          <a:bodyPr wrap="none" anchor="t" anchorCtr="0">
            <a:sp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Nom Prénom</a:t>
            </a:r>
          </a:p>
        </p:txBody>
      </p:sp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6EDD3C99-703A-5545-AFD6-2B4F1B9E83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47528" y="2745480"/>
            <a:ext cx="1168910" cy="400110"/>
          </a:xfrm>
        </p:spPr>
        <p:txBody>
          <a:bodyPr wrap="none" anchor="t" anchorCtr="0">
            <a:spAutoFit/>
          </a:bodyPr>
          <a:lstStyle>
            <a:lvl1pPr algn="l">
              <a:defRPr sz="2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Fonction</a:t>
            </a:r>
          </a:p>
        </p:txBody>
      </p:sp>
      <p:sp>
        <p:nvSpPr>
          <p:cNvPr id="39" name="Espace réservé du texte 7">
            <a:extLst>
              <a:ext uri="{FF2B5EF4-FFF2-40B4-BE49-F238E27FC236}">
                <a16:creationId xmlns:a16="http://schemas.microsoft.com/office/drawing/2014/main" id="{254634C4-219D-654E-ADF1-4761C53A79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47528" y="3773040"/>
            <a:ext cx="2210926" cy="369332"/>
          </a:xfrm>
        </p:spPr>
        <p:txBody>
          <a:bodyPr wrap="none" anchor="t" anchorCtr="0">
            <a:spAutoFit/>
          </a:bodyPr>
          <a:lstStyle>
            <a:lvl1pPr algn="l">
              <a:defRPr sz="18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Tel : 00 00 00 00 00</a:t>
            </a:r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90EAB92A-E860-C04F-80E2-01D500A772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47528" y="4194800"/>
            <a:ext cx="1261884" cy="369332"/>
          </a:xfrm>
        </p:spPr>
        <p:txBody>
          <a:bodyPr wrap="none" anchor="t" anchorCtr="0">
            <a:spAutoFit/>
          </a:bodyPr>
          <a:lstStyle>
            <a:lvl1pPr algn="l">
              <a:defRPr sz="18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Mail : </a:t>
            </a:r>
            <a:r>
              <a:rPr lang="fr-FR" dirty="0" err="1"/>
              <a:t>xxxx</a:t>
            </a:r>
            <a:endParaRPr lang="fr-FR" dirty="0"/>
          </a:p>
        </p:txBody>
      </p:sp>
      <p:pic>
        <p:nvPicPr>
          <p:cNvPr id="21" name="Graphique 20">
            <a:extLst>
              <a:ext uri="{FF2B5EF4-FFF2-40B4-BE49-F238E27FC236}">
                <a16:creationId xmlns:a16="http://schemas.microsoft.com/office/drawing/2014/main" id="{50B9AB08-2FE3-4939-B8C8-C8C2F8445F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1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 - Titre de section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CA53E85D-3F7D-7142-B5BF-4648E8ACD4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36800"/>
            <a:ext cx="7974000" cy="65844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5500782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C48F1FB-1512-C14D-814F-5943F8317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AFDE49D-AB03-744F-BB58-8F6B52A78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FD19BC1-770C-AF47-B19C-F966A6660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EA9FD7-D8CF-C34A-BF02-DF45A9E24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9DB6018-2D11-4EF9-BAD0-DE759EDA0EF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331" r="20331" b="29725"/>
          <a:stretch/>
        </p:blipFill>
        <p:spPr>
          <a:xfrm>
            <a:off x="318066" y="0"/>
            <a:ext cx="521475" cy="103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0373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5EF9912-8057-ED43-8CA4-116C88CFE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1F930-5DDD-314A-85F0-616DA3BC13C1}" type="datetime1">
              <a:rPr lang="fr-FR" smtClean="0"/>
              <a:t>07/09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757C928-B217-C14D-9A37-19FD74941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F09E0ED-6F01-3E42-9CE9-A59B0CA35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4512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intérieur, table, encombré, table de salle à manger&#10;&#10;Description générée automatiquement">
            <a:extLst>
              <a:ext uri="{FF2B5EF4-FFF2-40B4-BE49-F238E27FC236}">
                <a16:creationId xmlns:a16="http://schemas.microsoft.com/office/drawing/2014/main" id="{27AAAE47-435B-224E-87F7-255BA4E18C85}"/>
              </a:ext>
            </a:extLst>
          </p:cNvPr>
          <p:cNvPicPr>
            <a:picLocks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679"/>
            <a:ext cx="7972148" cy="6576208"/>
          </a:xfrm>
          <a:prstGeom prst="rect">
            <a:avLst/>
          </a:prstGeom>
        </p:spPr>
      </p:pic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7CC7401-4B72-4BDF-B114-F4055B02A0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717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44" imgH="345" progId="TCLayout.ActiveDocument.1">
                  <p:embed/>
                </p:oleObj>
              </mc:Choice>
              <mc:Fallback>
                <p:oleObj name="Diapositive think-cell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713681-7F09-4808-B657-7414D687EC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7F10058-2330-42AB-B077-16CF8AC73BD0}"/>
              </a:ext>
            </a:extLst>
          </p:cNvPr>
          <p:cNvGrpSpPr/>
          <p:nvPr/>
        </p:nvGrpSpPr>
        <p:grpSpPr>
          <a:xfrm>
            <a:off x="-6036" y="0"/>
            <a:ext cx="1349509" cy="1697126"/>
            <a:chOff x="-6036" y="0"/>
            <a:chExt cx="1349509" cy="169712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D809E7-1A16-AF4D-AF2C-5DE76578D0FB}"/>
                </a:ext>
              </a:extLst>
            </p:cNvPr>
            <p:cNvSpPr/>
            <p:nvPr/>
          </p:nvSpPr>
          <p:spPr>
            <a:xfrm>
              <a:off x="-6036" y="0"/>
              <a:ext cx="1349509" cy="16971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Graphique 12">
              <a:extLst>
                <a:ext uri="{FF2B5EF4-FFF2-40B4-BE49-F238E27FC236}">
                  <a16:creationId xmlns:a16="http://schemas.microsoft.com/office/drawing/2014/main" id="{A0FCADEB-DAA8-47B5-9300-5E2DC6A3B7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20331" r="20331" b="29725"/>
            <a:stretch/>
          </p:blipFill>
          <p:spPr>
            <a:xfrm>
              <a:off x="318066" y="0"/>
              <a:ext cx="710382" cy="14034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2106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able, en bois, bois, légume&#10;&#10;Description générée automatiquement">
            <a:extLst>
              <a:ext uri="{FF2B5EF4-FFF2-40B4-BE49-F238E27FC236}">
                <a16:creationId xmlns:a16="http://schemas.microsoft.com/office/drawing/2014/main" id="{6D4AC6A6-FA2C-3C4F-9FEF-F3D1E56C2E8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132" y="136526"/>
            <a:ext cx="7972147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78F803-FE19-4C01-A025-5958DC7FD333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8811B69C-0C20-44C5-A80A-5E2B6396EED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40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table, intérieur&#10;&#10;Description générée automatiquement">
            <a:extLst>
              <a:ext uri="{FF2B5EF4-FFF2-40B4-BE49-F238E27FC236}">
                <a16:creationId xmlns:a16="http://schemas.microsoft.com/office/drawing/2014/main" id="{584D5250-6DCD-6B45-B5BB-923D9F471F17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36" y="138112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C396BF-E2E0-44BC-879B-73A1E3BC930C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81625280-F166-413E-8C1B-00E6491DD35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289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503D34DD-F73F-C44E-AAC8-B7CC050DD879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169" y="136526"/>
            <a:ext cx="7984317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D09F01-89B3-4303-B778-A95EC386CB67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2B93453A-7D86-44E6-9E23-B0602E2554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887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personne, alimentation&#10;&#10;Description générée automatiquement">
            <a:extLst>
              <a:ext uri="{FF2B5EF4-FFF2-40B4-BE49-F238E27FC236}">
                <a16:creationId xmlns:a16="http://schemas.microsoft.com/office/drawing/2014/main" id="{93F34B23-A1F6-1946-BF2C-A20C95D6F4E1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112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C59599-330F-4F4D-9581-85D56CA5FD23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9A98EC2B-9016-436F-A483-91CF2C6E16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7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 - 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extérieur&#10;&#10;Description générée automatiquement">
            <a:extLst>
              <a:ext uri="{FF2B5EF4-FFF2-40B4-BE49-F238E27FC236}">
                <a16:creationId xmlns:a16="http://schemas.microsoft.com/office/drawing/2014/main" id="{7BB7EE54-4EDF-3442-8AF6-2EC30C792F25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36526"/>
            <a:ext cx="7972148" cy="65817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BCEBFA-8804-414F-9B62-6CC6280E8F77}"/>
              </a:ext>
            </a:extLst>
          </p:cNvPr>
          <p:cNvSpPr/>
          <p:nvPr/>
        </p:nvSpPr>
        <p:spPr>
          <a:xfrm>
            <a:off x="6424474" y="2615761"/>
            <a:ext cx="4495060" cy="32258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E5644-8AC6-F249-BF04-8B0A82F9E0F1}"/>
              </a:ext>
            </a:extLst>
          </p:cNvPr>
          <p:cNvSpPr/>
          <p:nvPr/>
        </p:nvSpPr>
        <p:spPr>
          <a:xfrm>
            <a:off x="6549008" y="2743200"/>
            <a:ext cx="4245992" cy="29647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8046023-EC2F-854E-800E-EC925997D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444" y="4487557"/>
            <a:ext cx="3787284" cy="923330"/>
          </a:xfrm>
        </p:spPr>
        <p:txBody>
          <a:bodyPr anchor="b" anchorCtr="0"/>
          <a:lstStyle>
            <a:lvl1pPr>
              <a:defRPr sz="3000" b="1" cap="all" spc="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19E2342-816C-C046-A6B3-FEF9B37E750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09697" y="1342961"/>
            <a:ext cx="2215969" cy="2215991"/>
          </a:xfrm>
        </p:spPr>
        <p:txBody>
          <a:bodyPr wrap="square" anchor="b" anchorCtr="0">
            <a:spAutoFit/>
          </a:bodyPr>
          <a:lstStyle>
            <a:lvl1pPr>
              <a:defRPr sz="138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98C6E2E-5087-4A4C-9B37-FA814EA4816C}"/>
              </a:ext>
            </a:extLst>
          </p:cNvPr>
          <p:cNvSpPr/>
          <p:nvPr/>
        </p:nvSpPr>
        <p:spPr>
          <a:xfrm>
            <a:off x="-6036" y="0"/>
            <a:ext cx="1349509" cy="1697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2E26C516-D8EC-4B6C-B703-ACD98B9491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0331" r="20331" b="29725"/>
          <a:stretch/>
        </p:blipFill>
        <p:spPr>
          <a:xfrm>
            <a:off x="318066" y="0"/>
            <a:ext cx="710382" cy="140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68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4C554C07-69F2-4B61-99A2-A58B176DAC53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68880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5" imgW="344" imgH="345" progId="TCLayout.ActiveDocument.1">
                  <p:embed/>
                </p:oleObj>
              </mc:Choice>
              <mc:Fallback>
                <p:oleObj name="Diapositive think-cell" r:id="rId3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54C5C77-DBE0-4F23-B804-D216F77A0DCB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5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97FB28-AB8D-354A-A938-20D3EB8BAB38}"/>
              </a:ext>
            </a:extLst>
          </p:cNvPr>
          <p:cNvSpPr/>
          <p:nvPr/>
        </p:nvSpPr>
        <p:spPr>
          <a:xfrm>
            <a:off x="0" y="6721642"/>
            <a:ext cx="12192000" cy="136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BDC0405-875E-784B-9A46-3BEF578E8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696" y="341024"/>
            <a:ext cx="10357104" cy="78483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fr-FR" dirty="0"/>
              <a:t>Modifiez le style du titre</a:t>
            </a:r>
            <a:br>
              <a:rPr lang="fr-FR" dirty="0"/>
            </a:br>
            <a:r>
              <a:rPr lang="fr-FR" dirty="0"/>
              <a:t>2 lign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6767CC0-E82D-8E4E-BBC6-AB5EE1E64A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3"/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5E8BFCC-41A3-5440-9794-D80D386ED8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8234" y="6404271"/>
            <a:ext cx="8707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E281E-D9E6-D946-B329-BFC92E920E38}" type="datetime1">
              <a:rPr lang="fr-FR" smtClean="0"/>
              <a:t>07/09/2021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860941C-C526-E742-89B5-F67838A0A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689" y="640427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9A999AB-1C8D-E941-9C8D-542FF05E40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30997" y="6404271"/>
            <a:ext cx="5592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F8CADB39-A32D-A14B-A5B6-9010485D65CB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FEB0482-6871-7147-B689-7F00575DF7F2}"/>
              </a:ext>
            </a:extLst>
          </p:cNvPr>
          <p:cNvCxnSpPr>
            <a:cxnSpLocks/>
          </p:cNvCxnSpPr>
          <p:nvPr/>
        </p:nvCxnSpPr>
        <p:spPr>
          <a:xfrm flipV="1">
            <a:off x="514767" y="6529137"/>
            <a:ext cx="0" cy="33882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35CCF0A8-83A5-5B4E-94C7-CE45DF9DA30A}"/>
              </a:ext>
            </a:extLst>
          </p:cNvPr>
          <p:cNvSpPr>
            <a:spLocks noChangeAspect="1"/>
          </p:cNvSpPr>
          <p:nvPr/>
        </p:nvSpPr>
        <p:spPr>
          <a:xfrm flipV="1">
            <a:off x="1366520" y="6577331"/>
            <a:ext cx="36000" cy="3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93842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0" r:id="rId2"/>
    <p:sldLayoutId id="2147483677" r:id="rId3"/>
    <p:sldLayoutId id="2147483651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50" r:id="rId22"/>
    <p:sldLayoutId id="2147483678" r:id="rId23"/>
    <p:sldLayoutId id="2147483671" r:id="rId24"/>
    <p:sldLayoutId id="2147483674" r:id="rId25"/>
    <p:sldLayoutId id="2147483675" r:id="rId26"/>
    <p:sldLayoutId id="2147483672" r:id="rId27"/>
    <p:sldLayoutId id="2147483673" r:id="rId28"/>
    <p:sldLayoutId id="2147483676" r:id="rId29"/>
    <p:sldLayoutId id="2147483654" r:id="rId30"/>
    <p:sldLayoutId id="2147483655" r:id="rId3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Tx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350" indent="0" algn="l" defTabSz="914400" rtl="0" eaLnBrk="1" latinLnBrk="0" hangingPunct="1">
        <a:lnSpc>
          <a:spcPct val="100000"/>
        </a:lnSpc>
        <a:spcBef>
          <a:spcPts val="100"/>
        </a:spcBef>
        <a:buFontTx/>
        <a:buNone/>
        <a:tabLst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92125" indent="-131763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90575" indent="-161925" algn="l" defTabSz="914400" rtl="0" eaLnBrk="1" latinLnBrk="0" hangingPunct="1">
        <a:lnSpc>
          <a:spcPct val="100000"/>
        </a:lnSpc>
        <a:spcBef>
          <a:spcPts val="200"/>
        </a:spcBef>
        <a:buFont typeface="Police système"/>
        <a:buChar char="­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6840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5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1Gz0BqPV-Y0&amp;skip_registered_account_check=true" TargetMode="Externa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1</a:t>
            </a:fld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38DC95C-CB35-4BB1-AD05-9D771B6EDADB}"/>
              </a:ext>
            </a:extLst>
          </p:cNvPr>
          <p:cNvSpPr txBox="1"/>
          <p:nvPr/>
        </p:nvSpPr>
        <p:spPr>
          <a:xfrm>
            <a:off x="983433" y="2613392"/>
            <a:ext cx="1029714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dirty="0"/>
              <a:t>GOOD DESIGN PLAYBOOK</a:t>
            </a:r>
          </a:p>
          <a:p>
            <a:endParaRPr lang="fr-FR" sz="2000" dirty="0"/>
          </a:p>
          <a:p>
            <a:r>
              <a:rPr lang="fr-FR" sz="2000" dirty="0"/>
              <a:t>Un guide de bonne pratique de conception </a:t>
            </a:r>
          </a:p>
          <a:p>
            <a:r>
              <a:rPr lang="fr-FR" sz="2000" dirty="0"/>
              <a:t>pour des produits et services accessibles à toutes et tou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6BF903B-A98B-4FE2-AC6D-A7142022E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81" y="4581678"/>
            <a:ext cx="284432" cy="63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9E0D154-091B-447B-86F8-246B9277148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704"/>
          <a:stretch/>
        </p:blipFill>
        <p:spPr>
          <a:xfrm>
            <a:off x="2030027" y="4634782"/>
            <a:ext cx="1080120" cy="636986"/>
          </a:xfrm>
          <a:prstGeom prst="rect">
            <a:avLst/>
          </a:prstGeom>
        </p:spPr>
      </p:pic>
      <p:pic>
        <p:nvPicPr>
          <p:cNvPr id="8" name="Picture 2" descr="Un nouveau logo pour la CNSA | CNSA">
            <a:extLst>
              <a:ext uri="{FF2B5EF4-FFF2-40B4-BE49-F238E27FC236}">
                <a16:creationId xmlns:a16="http://schemas.microsoft.com/office/drawing/2014/main" id="{DA83E691-B860-4EC9-85E8-8ACBE48FA4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7" b="16496"/>
          <a:stretch/>
        </p:blipFill>
        <p:spPr bwMode="auto">
          <a:xfrm>
            <a:off x="983433" y="4582544"/>
            <a:ext cx="1080120" cy="74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4591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2</a:t>
            </a:fld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38DC95C-CB35-4BB1-AD05-9D771B6EDADB}"/>
              </a:ext>
            </a:extLst>
          </p:cNvPr>
          <p:cNvSpPr txBox="1"/>
          <p:nvPr/>
        </p:nvSpPr>
        <p:spPr>
          <a:xfrm>
            <a:off x="695400" y="548680"/>
            <a:ext cx="10297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APF France Handicap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DD4A678-8D8C-4509-BE47-F4EC6F60A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4112" y="2420888"/>
            <a:ext cx="4681519" cy="144383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BCAB5B8-75D8-422B-BA10-6FA9F202E0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442" y="1860804"/>
            <a:ext cx="5779008" cy="313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88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3</a:t>
            </a:fld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38DC95C-CB35-4BB1-AD05-9D771B6EDADB}"/>
              </a:ext>
            </a:extLst>
          </p:cNvPr>
          <p:cNvSpPr txBox="1"/>
          <p:nvPr/>
        </p:nvSpPr>
        <p:spPr>
          <a:xfrm>
            <a:off x="695400" y="548680"/>
            <a:ext cx="10297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Le Groupe SEB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BFAAC15F-EF74-4BC9-9BB9-A914B6256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6789" y="548680"/>
            <a:ext cx="568092" cy="1272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Groupe SEB — Wikipédia">
            <a:extLst>
              <a:ext uri="{FF2B5EF4-FFF2-40B4-BE49-F238E27FC236}">
                <a16:creationId xmlns:a16="http://schemas.microsoft.com/office/drawing/2014/main" id="{04B26D58-2AC3-4761-8311-98450B082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1134" y="1889866"/>
            <a:ext cx="3579402" cy="156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Remerciements. Figure 1 Le site d Is sur Tille - PDF Free Download">
            <a:extLst>
              <a:ext uri="{FF2B5EF4-FFF2-40B4-BE49-F238E27FC236}">
                <a16:creationId xmlns:a16="http://schemas.microsoft.com/office/drawing/2014/main" id="{C894948D-FF3F-4FAA-92BE-2C63037D6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158" y="3789040"/>
            <a:ext cx="2769584" cy="2708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e 21">
            <a:extLst>
              <a:ext uri="{FF2B5EF4-FFF2-40B4-BE49-F238E27FC236}">
                <a16:creationId xmlns:a16="http://schemas.microsoft.com/office/drawing/2014/main" id="{F2B1EE58-994E-4017-BECC-F1DF9872D052}"/>
              </a:ext>
            </a:extLst>
          </p:cNvPr>
          <p:cNvGrpSpPr/>
          <p:nvPr/>
        </p:nvGrpSpPr>
        <p:grpSpPr>
          <a:xfrm>
            <a:off x="767408" y="1427309"/>
            <a:ext cx="6552728" cy="1582109"/>
            <a:chOff x="2150788" y="2974915"/>
            <a:chExt cx="5089093" cy="1228725"/>
          </a:xfrm>
        </p:grpSpPr>
        <p:pic>
          <p:nvPicPr>
            <p:cNvPr id="23" name="picture">
              <a:extLst>
                <a:ext uri="{FF2B5EF4-FFF2-40B4-BE49-F238E27FC236}">
                  <a16:creationId xmlns:a16="http://schemas.microsoft.com/office/drawing/2014/main" id="{69E12653-5C87-4010-9D73-28AFA8300985}"/>
                </a:ext>
              </a:extLst>
            </p:cNvPr>
            <p:cNvPicPr/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0788" y="2974915"/>
              <a:ext cx="1812925" cy="1228725"/>
            </a:xfrm>
            <a:prstGeom prst="rect">
              <a:avLst/>
            </a:prstGeom>
          </p:spPr>
        </p:pic>
        <p:pic>
          <p:nvPicPr>
            <p:cNvPr id="24" name="picture">
              <a:extLst>
                <a:ext uri="{FF2B5EF4-FFF2-40B4-BE49-F238E27FC236}">
                  <a16:creationId xmlns:a16="http://schemas.microsoft.com/office/drawing/2014/main" id="{6B6FEA2A-9A4D-43A3-BCE1-D352D74ED4AE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3713" y="2974915"/>
              <a:ext cx="1463243" cy="1228725"/>
            </a:xfrm>
            <a:prstGeom prst="rect">
              <a:avLst/>
            </a:prstGeom>
          </p:spPr>
        </p:pic>
        <p:pic>
          <p:nvPicPr>
            <p:cNvPr id="25" name="picture">
              <a:extLst>
                <a:ext uri="{FF2B5EF4-FFF2-40B4-BE49-F238E27FC236}">
                  <a16:creationId xmlns:a16="http://schemas.microsoft.com/office/drawing/2014/main" id="{E70CCEC6-5A66-4124-ACE0-98AECA9A1CCF}"/>
                </a:ext>
              </a:extLst>
            </p:cNvPr>
            <p:cNvPicPr/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6636" y="2981900"/>
              <a:ext cx="1833245" cy="1221740"/>
            </a:xfrm>
            <a:prstGeom prst="rect">
              <a:avLst/>
            </a:prstGeom>
          </p:spPr>
        </p:pic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768E639D-666E-4DE8-90A5-C41C87EC145F}"/>
              </a:ext>
            </a:extLst>
          </p:cNvPr>
          <p:cNvGrpSpPr/>
          <p:nvPr/>
        </p:nvGrpSpPr>
        <p:grpSpPr>
          <a:xfrm>
            <a:off x="767408" y="3184937"/>
            <a:ext cx="6552728" cy="1454820"/>
            <a:chOff x="2150788" y="2974915"/>
            <a:chExt cx="5534362" cy="1228725"/>
          </a:xfrm>
        </p:grpSpPr>
        <p:pic>
          <p:nvPicPr>
            <p:cNvPr id="27" name="picture">
              <a:extLst>
                <a:ext uri="{FF2B5EF4-FFF2-40B4-BE49-F238E27FC236}">
                  <a16:creationId xmlns:a16="http://schemas.microsoft.com/office/drawing/2014/main" id="{7E7BFB46-C185-4A19-8A3A-2943280050E1}"/>
                </a:ext>
              </a:extLst>
            </p:cNvPr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0788" y="2974915"/>
              <a:ext cx="1842744" cy="1228725"/>
            </a:xfrm>
            <a:prstGeom prst="rect">
              <a:avLst/>
            </a:prstGeom>
          </p:spPr>
        </p:pic>
        <p:pic>
          <p:nvPicPr>
            <p:cNvPr id="28" name="picture">
              <a:extLst>
                <a:ext uri="{FF2B5EF4-FFF2-40B4-BE49-F238E27FC236}">
                  <a16:creationId xmlns:a16="http://schemas.microsoft.com/office/drawing/2014/main" id="{F76DD8FA-0ABF-4A99-B2B0-233B2F65FA30}"/>
                </a:ext>
              </a:extLst>
            </p:cNvPr>
            <p:cNvPicPr/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3532" y="2974915"/>
              <a:ext cx="1848810" cy="1228725"/>
            </a:xfrm>
            <a:prstGeom prst="rect">
              <a:avLst/>
            </a:prstGeom>
          </p:spPr>
        </p:pic>
        <p:pic>
          <p:nvPicPr>
            <p:cNvPr id="29" name="picture">
              <a:extLst>
                <a:ext uri="{FF2B5EF4-FFF2-40B4-BE49-F238E27FC236}">
                  <a16:creationId xmlns:a16="http://schemas.microsoft.com/office/drawing/2014/main" id="{515AABC9-17E7-4852-AF86-73081D94CE85}"/>
                </a:ext>
              </a:extLst>
            </p:cNvPr>
            <p:cNvPicPr/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6276" y="2974915"/>
              <a:ext cx="1848874" cy="1228725"/>
            </a:xfrm>
            <a:prstGeom prst="rect">
              <a:avLst/>
            </a:prstGeom>
          </p:spPr>
        </p:pic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2CC486A9-6304-4476-BF88-0178F08FFCF1}"/>
              </a:ext>
            </a:extLst>
          </p:cNvPr>
          <p:cNvGrpSpPr/>
          <p:nvPr/>
        </p:nvGrpSpPr>
        <p:grpSpPr>
          <a:xfrm>
            <a:off x="767408" y="4815276"/>
            <a:ext cx="6552728" cy="1483437"/>
            <a:chOff x="2150788" y="2963385"/>
            <a:chExt cx="5528919" cy="1251662"/>
          </a:xfrm>
        </p:grpSpPr>
        <p:pic>
          <p:nvPicPr>
            <p:cNvPr id="31" name="picture">
              <a:extLst>
                <a:ext uri="{FF2B5EF4-FFF2-40B4-BE49-F238E27FC236}">
                  <a16:creationId xmlns:a16="http://schemas.microsoft.com/office/drawing/2014/main" id="{1571E375-CE2F-4ED4-838D-E19F0B25D269}"/>
                </a:ext>
              </a:extLst>
            </p:cNvPr>
            <p:cNvPicPr/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0788" y="2963385"/>
              <a:ext cx="1842744" cy="1251662"/>
            </a:xfrm>
            <a:prstGeom prst="rect">
              <a:avLst/>
            </a:prstGeom>
          </p:spPr>
        </p:pic>
        <p:pic>
          <p:nvPicPr>
            <p:cNvPr id="32" name="picture">
              <a:extLst>
                <a:ext uri="{FF2B5EF4-FFF2-40B4-BE49-F238E27FC236}">
                  <a16:creationId xmlns:a16="http://schemas.microsoft.com/office/drawing/2014/main" id="{16A68AF1-30D9-40DB-9164-0DB2BCB1A3CB}"/>
                </a:ext>
              </a:extLst>
            </p:cNvPr>
            <p:cNvPicPr/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3531" y="2963385"/>
              <a:ext cx="1803987" cy="1251662"/>
            </a:xfrm>
            <a:prstGeom prst="rect">
              <a:avLst/>
            </a:prstGeom>
          </p:spPr>
        </p:pic>
        <p:pic>
          <p:nvPicPr>
            <p:cNvPr id="33" name="picture">
              <a:extLst>
                <a:ext uri="{FF2B5EF4-FFF2-40B4-BE49-F238E27FC236}">
                  <a16:creationId xmlns:a16="http://schemas.microsoft.com/office/drawing/2014/main" id="{611D4836-BD8D-4164-B1AB-3261FC1B3941}"/>
                </a:ext>
              </a:extLst>
            </p:cNvPr>
            <p:cNvPicPr/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7518" y="2964134"/>
              <a:ext cx="1882189" cy="12509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5234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4</a:t>
            </a:fld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D3E2035A-2EEA-4E73-A40F-0147CECDA4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8" b="1204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267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 21">
            <a:extLst>
              <a:ext uri="{FF2B5EF4-FFF2-40B4-BE49-F238E27FC236}">
                <a16:creationId xmlns:a16="http://schemas.microsoft.com/office/drawing/2014/main" id="{1F09B720-8E79-4DD5-9209-3F97FDA95E69}"/>
              </a:ext>
            </a:extLst>
          </p:cNvPr>
          <p:cNvGrpSpPr/>
          <p:nvPr/>
        </p:nvGrpSpPr>
        <p:grpSpPr>
          <a:xfrm>
            <a:off x="0" y="0"/>
            <a:ext cx="12192000" cy="3776190"/>
            <a:chOff x="0" y="0"/>
            <a:chExt cx="12192000" cy="377619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DFD4220-B035-49C6-AD12-5915DED92FDE}"/>
                </a:ext>
              </a:extLst>
            </p:cNvPr>
            <p:cNvSpPr/>
            <p:nvPr/>
          </p:nvSpPr>
          <p:spPr>
            <a:xfrm>
              <a:off x="0" y="0"/>
              <a:ext cx="12192000" cy="3776190"/>
            </a:xfrm>
            <a:prstGeom prst="rect">
              <a:avLst/>
            </a:prstGeom>
            <a:solidFill>
              <a:srgbClr val="FFF7F5"/>
            </a:solidFill>
            <a:ln>
              <a:solidFill>
                <a:srgbClr val="FFF7F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68840F32-2EF4-4349-9ECA-622AB5286BCF}"/>
                </a:ext>
              </a:extLst>
            </p:cNvPr>
            <p:cNvGrpSpPr/>
            <p:nvPr/>
          </p:nvGrpSpPr>
          <p:grpSpPr>
            <a:xfrm>
              <a:off x="1856916" y="1167524"/>
              <a:ext cx="8478168" cy="2608666"/>
              <a:chOff x="1856916" y="1167524"/>
              <a:chExt cx="8478168" cy="2608666"/>
            </a:xfrm>
          </p:grpSpPr>
          <p:pic>
            <p:nvPicPr>
              <p:cNvPr id="12" name="Image 11">
                <a:extLst>
                  <a:ext uri="{FF2B5EF4-FFF2-40B4-BE49-F238E27FC236}">
                    <a16:creationId xmlns:a16="http://schemas.microsoft.com/office/drawing/2014/main" id="{ABD7CCA0-F577-44BA-9307-12DCEB99C2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856916" y="1167524"/>
                <a:ext cx="8478168" cy="2608666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F0EF4F8-8422-4FAF-979E-471B446BEAF9}"/>
                  </a:ext>
                </a:extLst>
              </p:cNvPr>
              <p:cNvSpPr/>
              <p:nvPr/>
            </p:nvSpPr>
            <p:spPr>
              <a:xfrm>
                <a:off x="1919536" y="1196752"/>
                <a:ext cx="1656184" cy="720080"/>
              </a:xfrm>
              <a:prstGeom prst="rect">
                <a:avLst/>
              </a:prstGeom>
              <a:solidFill>
                <a:srgbClr val="FFF7F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5</a:t>
            </a:fld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8624A32F-B368-414A-85F1-4826A0E69866}"/>
              </a:ext>
            </a:extLst>
          </p:cNvPr>
          <p:cNvSpPr txBox="1"/>
          <p:nvPr/>
        </p:nvSpPr>
        <p:spPr>
          <a:xfrm>
            <a:off x="695400" y="548680"/>
            <a:ext cx="10297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L’utilisateur au cœur de la conception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369EE16-1543-480C-99D2-FB1B2E00CB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23"/>
          <a:stretch/>
        </p:blipFill>
        <p:spPr>
          <a:xfrm>
            <a:off x="0" y="3925728"/>
            <a:ext cx="2557071" cy="210263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CE398EBF-19E5-4A8B-9A29-9B9DB23537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8532" y="3925727"/>
            <a:ext cx="3311293" cy="2110271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594C3CF-9AA1-4920-AE8C-935E109F00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465"/>
          <a:stretch/>
        </p:blipFill>
        <p:spPr>
          <a:xfrm>
            <a:off x="5767651" y="3925727"/>
            <a:ext cx="3083763" cy="2102631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98924758-A605-48FB-80B6-A0EBB6E300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22" r="15793"/>
          <a:stretch/>
        </p:blipFill>
        <p:spPr>
          <a:xfrm>
            <a:off x="2614189" y="3933369"/>
            <a:ext cx="3096344" cy="209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671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6</a:t>
            </a:fld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00BA4DE-E73F-477D-A32B-7FDB481308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4239"/>
          <a:stretch/>
        </p:blipFill>
        <p:spPr>
          <a:xfrm>
            <a:off x="623392" y="1435756"/>
            <a:ext cx="4065668" cy="3913076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EA9D1B33-03CD-4230-BA44-43DB3E04D0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303" r="23452"/>
          <a:stretch/>
        </p:blipFill>
        <p:spPr>
          <a:xfrm>
            <a:off x="4731917" y="1427228"/>
            <a:ext cx="1976363" cy="391307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7A5FDE8-B8BB-44F7-A9FA-DF6552AED0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6200" y="1534337"/>
            <a:ext cx="3549826" cy="4435995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A481E34C-9939-429E-BA70-E51D502DF553}"/>
              </a:ext>
            </a:extLst>
          </p:cNvPr>
          <p:cNvSpPr txBox="1"/>
          <p:nvPr/>
        </p:nvSpPr>
        <p:spPr>
          <a:xfrm>
            <a:off x="695400" y="548680"/>
            <a:ext cx="10297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Le partage de méthodes, d’outils et de bonnes pratiques</a:t>
            </a:r>
          </a:p>
        </p:txBody>
      </p:sp>
    </p:spTree>
    <p:extLst>
      <p:ext uri="{BB962C8B-B14F-4D97-AF65-F5344CB8AC3E}">
        <p14:creationId xmlns:p14="http://schemas.microsoft.com/office/powerpoint/2010/main" val="962895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7</a:t>
            </a:fld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38DC95C-CB35-4BB1-AD05-9D771B6EDADB}"/>
              </a:ext>
            </a:extLst>
          </p:cNvPr>
          <p:cNvSpPr txBox="1"/>
          <p:nvPr/>
        </p:nvSpPr>
        <p:spPr>
          <a:xfrm>
            <a:off x="695400" y="548680"/>
            <a:ext cx="10297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Le Good Design </a:t>
            </a:r>
            <a:r>
              <a:rPr lang="fr-FR" sz="2400" dirty="0" err="1"/>
              <a:t>Playbook</a:t>
            </a:r>
            <a:endParaRPr lang="fr-FR" sz="2400" dirty="0"/>
          </a:p>
        </p:txBody>
      </p:sp>
      <p:pic>
        <p:nvPicPr>
          <p:cNvPr id="8198" name="Picture 6" descr="Méthode conception design inclusif">
            <a:extLst>
              <a:ext uri="{FF2B5EF4-FFF2-40B4-BE49-F238E27FC236}">
                <a16:creationId xmlns:a16="http://schemas.microsoft.com/office/drawing/2014/main" id="{D0A0721E-11A2-4679-AD0E-60210F9DC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1923144"/>
            <a:ext cx="2814059" cy="422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9D7A752-4123-4EB4-A71E-CABE82032D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3972" y="990128"/>
            <a:ext cx="5819489" cy="3030984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00493178-7CA7-47CA-9938-32070BB3FD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1642246"/>
            <a:ext cx="3168352" cy="4162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321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8CCFEF-0B5D-DD47-A8CD-AFD211C27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C4C62E-C853-2E4E-A431-44037466E37D}" type="datetime1">
              <a:rPr lang="fr-FR" smtClean="0"/>
              <a:t>07/09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2938A09-F623-0A46-B383-0C66814AD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200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Rencontres R&amp;D Innovation CNSA</a:t>
            </a:r>
            <a:endParaRPr lang="fr-FR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10C0707-89A6-5248-9300-054E789ED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ADB39-A32D-A14B-A5B6-9010485D65CB}" type="slidenum">
              <a:rPr lang="fr-FR" smtClean="0"/>
              <a:t>8</a:t>
            </a:fld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FD41966-DD27-4C99-B8B3-72E29B17392C}"/>
              </a:ext>
            </a:extLst>
          </p:cNvPr>
          <p:cNvSpPr txBox="1"/>
          <p:nvPr/>
        </p:nvSpPr>
        <p:spPr>
          <a:xfrm>
            <a:off x="983433" y="3140968"/>
            <a:ext cx="10297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u="sng" dirty="0">
                <a:solidFill>
                  <a:srgbClr val="4472C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youtube.com/watch?v=1Gz0BqPV-Y0&amp;skip_registered_account_check=true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454609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C.Zj2N149vYy.N9HBv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4C3AA37m3I17_Di4Id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m.Vbeu6COYqoxKOvVq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gQfBHd2spU4mEV2akT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6YKJ6zdiH0zE7GZ5oatA"/>
</p:tagLst>
</file>

<file path=ppt/theme/theme1.xml><?xml version="1.0" encoding="utf-8"?>
<a:theme xmlns:a="http://schemas.openxmlformats.org/drawingml/2006/main" name="Masque_SEB_FR">
  <a:themeElements>
    <a:clrScheme name="SEB 1">
      <a:dk1>
        <a:srgbClr val="000000"/>
      </a:dk1>
      <a:lt1>
        <a:srgbClr val="FFFFFF"/>
      </a:lt1>
      <a:dk2>
        <a:srgbClr val="A3998B"/>
      </a:dk2>
      <a:lt2>
        <a:srgbClr val="E7E6E6"/>
      </a:lt2>
      <a:accent1>
        <a:srgbClr val="D82418"/>
      </a:accent1>
      <a:accent2>
        <a:srgbClr val="F29317"/>
      </a:accent2>
      <a:accent3>
        <a:srgbClr val="616726"/>
      </a:accent3>
      <a:accent4>
        <a:srgbClr val="5D93AE"/>
      </a:accent4>
      <a:accent5>
        <a:srgbClr val="493069"/>
      </a:accent5>
      <a:accent6>
        <a:srgbClr val="6B1C30"/>
      </a:accent6>
      <a:hlink>
        <a:srgbClr val="A3998B"/>
      </a:hlink>
      <a:folHlink>
        <a:srgbClr val="D6241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PowerPoint_FR_2021.pptx" id="{EA9684A4-A4F9-40CE-B8E8-16EF3285B4CE}" vid="{F61F035A-60D9-4A72-B612-BA3CEC41E82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</TotalTime>
  <Words>133</Words>
  <Application>Microsoft Office PowerPoint</Application>
  <PresentationFormat>Grand écran</PresentationFormat>
  <Paragraphs>34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3" baseType="lpstr">
      <vt:lpstr>Arial</vt:lpstr>
      <vt:lpstr>Calibri</vt:lpstr>
      <vt:lpstr>Police système</vt:lpstr>
      <vt:lpstr>Masque_SEB_FR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SE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RANCOURT Kenza</dc:creator>
  <cp:lastModifiedBy>DRANCOURT Kenza</cp:lastModifiedBy>
  <cp:revision>8</cp:revision>
  <dcterms:created xsi:type="dcterms:W3CDTF">2021-09-02T09:30:03Z</dcterms:created>
  <dcterms:modified xsi:type="dcterms:W3CDTF">2021-09-07T08:36:27Z</dcterms:modified>
</cp:coreProperties>
</file>